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25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2" autoAdjust="0"/>
    <p:restoredTop sz="94660"/>
  </p:normalViewPr>
  <p:slideViewPr>
    <p:cSldViewPr snapToGrid="0">
      <p:cViewPr varScale="1">
        <p:scale>
          <a:sx n="86" d="100"/>
          <a:sy n="86" d="100"/>
        </p:scale>
        <p:origin x="96" y="8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3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notesMaster" Target="notesMasters/notesMaster1.xml"/><Relationship Id="rId9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AAD9FB-9E4B-4303-A491-F960B5D6E888}" type="datetimeFigureOut">
              <a:rPr lang="en-US"/>
              <a:t>3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61145-AAE5-40E8-8EC0-FBC52946F0B1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335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326363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0250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307305" y="1626707"/>
            <a:ext cx="3441031" cy="14774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80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80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800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80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307305" y="3898228"/>
            <a:ext cx="3441031" cy="2141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800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800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800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9462655" y="645131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800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4485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56614" y="169187"/>
            <a:ext cx="9828080" cy="1135619"/>
          </a:xfrm>
          <a:prstGeom prst="rect">
            <a:avLst/>
          </a:prstGeom>
        </p:spPr>
        <p:txBody>
          <a:bodyPr anchor="t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pt-BR" sz="2766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Calibri"/>
              </a:rPr>
              <a:t>PLANOS DE RESPOSTA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pt-BR" sz="2766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defPPr>
              <a:defRPr lang="pt-BR"/>
            </a:defPPr>
            <a:lvl1pPr marL="0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8940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87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681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5760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4700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7363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257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3151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7BA7F7-9ECA-4650-BA2A-F44574574266}" type="slidenum">
              <a:rPr lang="pt-BR" smtClean="0"/>
              <a:pPr/>
              <a:t>1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006169" y="1535091"/>
            <a:ext cx="0" cy="421177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113268" y="1507104"/>
            <a:ext cx="7256" cy="433826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162510" y="892229"/>
            <a:ext cx="16857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4748485" y="899077"/>
            <a:ext cx="22140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8773596" y="947327"/>
            <a:ext cx="24326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365522" y="1861655"/>
            <a:ext cx="2108315" cy="106172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907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Dificuldade com a escolha do tema 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223973" y="2017520"/>
            <a:ext cx="2392179" cy="111851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Interação mediana de alguns integrantes 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939989" y="3136853"/>
            <a:ext cx="1909610" cy="919741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907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Alteração do Escopo</a:t>
            </a:r>
            <a:endParaRPr lang="pt-BR" sz="136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8597791" y="2022390"/>
            <a:ext cx="1766136" cy="1004928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Entrega da 1ª Sprint</a:t>
            </a:r>
            <a:endParaRPr lang="pt-BR" sz="181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0275169" y="3145485"/>
            <a:ext cx="1758880" cy="1189502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Experimentar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2104" y="6483988"/>
            <a:ext cx="320990" cy="320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ângulo 15">
            <a:extLst>
              <a:ext uri="{FF2B5EF4-FFF2-40B4-BE49-F238E27FC236}">
                <a16:creationId xmlns:a16="http://schemas.microsoft.com/office/drawing/2014/main" id="{BB98531C-08A4-4699-97BF-99F5CD14A417}"/>
              </a:ext>
            </a:extLst>
          </p:cNvPr>
          <p:cNvSpPr/>
          <p:nvPr/>
        </p:nvSpPr>
        <p:spPr>
          <a:xfrm>
            <a:off x="5288195" y="3265915"/>
            <a:ext cx="2676045" cy="120370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Trabalhar em um tema já existente em outros grupos 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FC0A14CE-0CF0-4F64-8145-80AE0FA25182}"/>
              </a:ext>
            </a:extLst>
          </p:cNvPr>
          <p:cNvSpPr/>
          <p:nvPr/>
        </p:nvSpPr>
        <p:spPr>
          <a:xfrm>
            <a:off x="8321877" y="3712809"/>
            <a:ext cx="1758880" cy="1075918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Poucos conflitos</a:t>
            </a:r>
          </a:p>
        </p:txBody>
      </p:sp>
    </p:spTree>
    <p:extLst>
      <p:ext uri="{BB962C8B-B14F-4D97-AF65-F5344CB8AC3E}">
        <p14:creationId xmlns:p14="http://schemas.microsoft.com/office/powerpoint/2010/main" val="18767013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56614" y="169187"/>
            <a:ext cx="9828080" cy="1135619"/>
          </a:xfrm>
          <a:prstGeom prst="rect">
            <a:avLst/>
          </a:prstGeom>
        </p:spPr>
        <p:txBody>
          <a:bodyPr anchor="t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pt-BR" sz="2766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Calibri"/>
              </a:rPr>
              <a:t>PLANOS DE RESPOSTA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pt-BR" sz="2766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>
            <a:defPPr>
              <a:defRPr lang="pt-BR"/>
            </a:defPPr>
            <a:lvl1pPr marL="0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8940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87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681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5760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4700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7363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257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31519" algn="l" defTabSz="857879" rtl="0" eaLnBrk="1" latinLnBrk="0" hangingPunct="1">
              <a:defRPr sz="17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7BA7F7-9ECA-4650-BA2A-F44574574266}" type="slidenum">
              <a:rPr lang="pt-BR" smtClean="0"/>
              <a:pPr/>
              <a:t>2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006169" y="1535091"/>
            <a:ext cx="0" cy="421177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113268" y="1507104"/>
            <a:ext cx="7256" cy="433826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162510" y="834720"/>
            <a:ext cx="17864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4906636" y="942209"/>
            <a:ext cx="18689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8773596" y="947327"/>
            <a:ext cx="24326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35671" y="5494592"/>
            <a:ext cx="2023157" cy="948136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907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Dificuldade com a escolha do tema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1301964" y="4427515"/>
            <a:ext cx="1512200" cy="79195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907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Alteração do Escopo</a:t>
            </a:r>
            <a:endParaRPr lang="pt-BR" sz="1360" dirty="0">
              <a:solidFill>
                <a:schemeClr val="tx1"/>
              </a:solidFill>
              <a:latin typeface="MV Boli"/>
              <a:cs typeface="MV Boli"/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8498543" y="2079122"/>
            <a:ext cx="1766136" cy="791959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Entrega da 1ª Sprint</a:t>
            </a:r>
            <a:endParaRPr lang="pt-BR" sz="1814" dirty="0">
              <a:solidFill>
                <a:schemeClr val="tx1"/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722212" y="3131302"/>
            <a:ext cx="1758880" cy="791959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Experimentar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2104" y="6483988"/>
            <a:ext cx="320990" cy="320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tângulo 19">
            <a:extLst>
              <a:ext uri="{FF2B5EF4-FFF2-40B4-BE49-F238E27FC236}">
                <a16:creationId xmlns:a16="http://schemas.microsoft.com/office/drawing/2014/main" id="{EB59F9A5-AC02-494E-A17C-F4F416BC7B9F}"/>
              </a:ext>
            </a:extLst>
          </p:cNvPr>
          <p:cNvSpPr/>
          <p:nvPr/>
        </p:nvSpPr>
        <p:spPr>
          <a:xfrm>
            <a:off x="348152" y="1538094"/>
            <a:ext cx="2818699" cy="1418461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2177" dirty="0">
                <a:solidFill>
                  <a:srgbClr val="000000"/>
                </a:solidFill>
                <a:latin typeface="MV Boli"/>
                <a:cs typeface="MV Boli"/>
              </a:rPr>
              <a:t>Compreender o tema e buscar o máximo de informação possível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10328426-E482-4AB3-A4A2-988198E5C7A3}"/>
              </a:ext>
            </a:extLst>
          </p:cNvPr>
          <p:cNvCxnSpPr/>
          <p:nvPr/>
        </p:nvCxnSpPr>
        <p:spPr>
          <a:xfrm flipH="1">
            <a:off x="2129767" y="5199795"/>
            <a:ext cx="11793" cy="300292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tângulo 2">
            <a:extLst>
              <a:ext uri="{FF2B5EF4-FFF2-40B4-BE49-F238E27FC236}">
                <a16:creationId xmlns:a16="http://schemas.microsoft.com/office/drawing/2014/main" id="{CCC8474C-E374-4E11-9AF9-C98D16D4D674}"/>
              </a:ext>
            </a:extLst>
          </p:cNvPr>
          <p:cNvSpPr/>
          <p:nvPr/>
        </p:nvSpPr>
        <p:spPr>
          <a:xfrm>
            <a:off x="8236806" y="4195035"/>
            <a:ext cx="1758880" cy="1075918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Poucos conflitos</a:t>
            </a:r>
          </a:p>
        </p:txBody>
      </p:sp>
      <p:sp>
        <p:nvSpPr>
          <p:cNvPr id="35" name="Retângulo 19">
            <a:extLst>
              <a:ext uri="{FF2B5EF4-FFF2-40B4-BE49-F238E27FC236}">
                <a16:creationId xmlns:a16="http://schemas.microsoft.com/office/drawing/2014/main" id="{6FEE5F99-CEE8-467E-AF95-0CEEA7BDA477}"/>
              </a:ext>
            </a:extLst>
          </p:cNvPr>
          <p:cNvSpPr/>
          <p:nvPr/>
        </p:nvSpPr>
        <p:spPr>
          <a:xfrm>
            <a:off x="1372649" y="2957223"/>
            <a:ext cx="2407096" cy="1191292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32" dirty="0">
                <a:solidFill>
                  <a:srgbClr val="000000"/>
                </a:solidFill>
                <a:latin typeface="MV Boli"/>
                <a:cs typeface="MV Boli"/>
              </a:rPr>
              <a:t>Estimular-se com perguntas e curiosidades sobre o que foi proposto</a:t>
            </a:r>
            <a:endParaRPr lang="pt-BR" sz="1632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cxnSp>
        <p:nvCxnSpPr>
          <p:cNvPr id="41" name="Straight Arrow Connector 1">
            <a:extLst>
              <a:ext uri="{FF2B5EF4-FFF2-40B4-BE49-F238E27FC236}">
                <a16:creationId xmlns:a16="http://schemas.microsoft.com/office/drawing/2014/main" id="{7A7401C8-60C4-4650-86EE-0E1E8A2122B4}"/>
              </a:ext>
            </a:extLst>
          </p:cNvPr>
          <p:cNvCxnSpPr>
            <a:cxnSpLocks/>
          </p:cNvCxnSpPr>
          <p:nvPr/>
        </p:nvCxnSpPr>
        <p:spPr>
          <a:xfrm flipH="1">
            <a:off x="2357682" y="4121879"/>
            <a:ext cx="11793" cy="300292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tângulo 13">
            <a:extLst>
              <a:ext uri="{FF2B5EF4-FFF2-40B4-BE49-F238E27FC236}">
                <a16:creationId xmlns:a16="http://schemas.microsoft.com/office/drawing/2014/main" id="{1F31D758-7427-49A6-B355-0ECB9ACC86CA}"/>
              </a:ext>
            </a:extLst>
          </p:cNvPr>
          <p:cNvSpPr/>
          <p:nvPr/>
        </p:nvSpPr>
        <p:spPr>
          <a:xfrm>
            <a:off x="4209795" y="1748041"/>
            <a:ext cx="2392179" cy="111851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Interação mediana de alguns integrantes </a:t>
            </a:r>
          </a:p>
        </p:txBody>
      </p:sp>
      <p:sp>
        <p:nvSpPr>
          <p:cNvPr id="38" name="Retângulo 19">
            <a:extLst>
              <a:ext uri="{FF2B5EF4-FFF2-40B4-BE49-F238E27FC236}">
                <a16:creationId xmlns:a16="http://schemas.microsoft.com/office/drawing/2014/main" id="{3AA65A56-05E8-43B7-B568-217FE1B5B311}"/>
              </a:ext>
            </a:extLst>
          </p:cNvPr>
          <p:cNvSpPr/>
          <p:nvPr/>
        </p:nvSpPr>
        <p:spPr>
          <a:xfrm>
            <a:off x="6149614" y="2418236"/>
            <a:ext cx="1825173" cy="1077709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32" dirty="0">
                <a:solidFill>
                  <a:srgbClr val="000000"/>
                </a:solidFill>
                <a:latin typeface="MV Boli"/>
                <a:cs typeface="MV Boli"/>
              </a:rPr>
              <a:t>Empenhar-se</a:t>
            </a:r>
            <a:endParaRPr lang="pt-BR" sz="1632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sp>
        <p:nvSpPr>
          <p:cNvPr id="43" name="Retângulo 19">
            <a:extLst>
              <a:ext uri="{FF2B5EF4-FFF2-40B4-BE49-F238E27FC236}">
                <a16:creationId xmlns:a16="http://schemas.microsoft.com/office/drawing/2014/main" id="{7879A5DD-B95F-40FC-80CB-3844B484E06D}"/>
              </a:ext>
            </a:extLst>
          </p:cNvPr>
          <p:cNvSpPr/>
          <p:nvPr/>
        </p:nvSpPr>
        <p:spPr>
          <a:xfrm>
            <a:off x="4251251" y="3028137"/>
            <a:ext cx="2052264" cy="1120302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32" dirty="0">
                <a:solidFill>
                  <a:srgbClr val="000000"/>
                </a:solidFill>
                <a:latin typeface="MV Boli"/>
                <a:cs typeface="MV Boli"/>
              </a:rPr>
              <a:t>Redistribuição mais assertiva das tarefas </a:t>
            </a:r>
            <a:endParaRPr lang="pt-BR" sz="1632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sp>
        <p:nvSpPr>
          <p:cNvPr id="15" name="Retângulo 15">
            <a:extLst>
              <a:ext uri="{FF2B5EF4-FFF2-40B4-BE49-F238E27FC236}">
                <a16:creationId xmlns:a16="http://schemas.microsoft.com/office/drawing/2014/main" id="{058C1E05-BDC9-499B-87C2-D202F0A6A823}"/>
              </a:ext>
            </a:extLst>
          </p:cNvPr>
          <p:cNvSpPr/>
          <p:nvPr/>
        </p:nvSpPr>
        <p:spPr>
          <a:xfrm>
            <a:off x="5174768" y="4372198"/>
            <a:ext cx="2676045" cy="1203703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814" dirty="0">
                <a:solidFill>
                  <a:schemeClr val="tx1"/>
                </a:solidFill>
                <a:latin typeface="MV Boli"/>
                <a:cs typeface="MV Boli"/>
              </a:rPr>
              <a:t>Trabalhar em um tema já existente em outros grupos </a:t>
            </a:r>
          </a:p>
        </p:txBody>
      </p:sp>
      <p:sp>
        <p:nvSpPr>
          <p:cNvPr id="37" name="Retângulo 19">
            <a:extLst>
              <a:ext uri="{FF2B5EF4-FFF2-40B4-BE49-F238E27FC236}">
                <a16:creationId xmlns:a16="http://schemas.microsoft.com/office/drawing/2014/main" id="{875FE6A1-B16C-49C3-98C9-5C1ED4DB69DC}"/>
              </a:ext>
            </a:extLst>
          </p:cNvPr>
          <p:cNvSpPr/>
          <p:nvPr/>
        </p:nvSpPr>
        <p:spPr>
          <a:xfrm>
            <a:off x="6289441" y="5496014"/>
            <a:ext cx="1640660" cy="992521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32" dirty="0">
                <a:solidFill>
                  <a:srgbClr val="000000"/>
                </a:solidFill>
                <a:latin typeface="MV Boli"/>
                <a:cs typeface="MV Boli"/>
              </a:rPr>
              <a:t>Inovar </a:t>
            </a:r>
            <a:endParaRPr lang="pt-BR" sz="1632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  <p:sp>
        <p:nvSpPr>
          <p:cNvPr id="46" name="Retângulo 19">
            <a:extLst>
              <a:ext uri="{FF2B5EF4-FFF2-40B4-BE49-F238E27FC236}">
                <a16:creationId xmlns:a16="http://schemas.microsoft.com/office/drawing/2014/main" id="{059E3BE6-61D0-4524-93F1-61C5A0B838A1}"/>
              </a:ext>
            </a:extLst>
          </p:cNvPr>
          <p:cNvSpPr/>
          <p:nvPr/>
        </p:nvSpPr>
        <p:spPr>
          <a:xfrm>
            <a:off x="4362818" y="5751310"/>
            <a:ext cx="2137423" cy="992521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2974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5947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8921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1895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64869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7842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10816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3790" algn="l" defTabSz="945947" rtl="0" eaLnBrk="1" latinLnBrk="0" hangingPunct="1">
              <a:defRPr sz="19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32" dirty="0">
                <a:solidFill>
                  <a:srgbClr val="000000"/>
                </a:solidFill>
                <a:latin typeface="MV Boli"/>
                <a:cs typeface="MV Boli"/>
              </a:rPr>
              <a:t>Buscar informações precisas, necessárias e verdadeiras</a:t>
            </a:r>
            <a:endParaRPr lang="pt-BR" sz="1632" dirty="0" err="1">
              <a:solidFill>
                <a:srgbClr val="000000"/>
              </a:solidFill>
              <a:latin typeface="MV Boli"/>
              <a:cs typeface="MV Boli"/>
            </a:endParaRPr>
          </a:p>
        </p:txBody>
      </p:sp>
    </p:spTree>
    <p:extLst>
      <p:ext uri="{BB962C8B-B14F-4D97-AF65-F5344CB8AC3E}">
        <p14:creationId xmlns:p14="http://schemas.microsoft.com/office/powerpoint/2010/main" val="1973727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3CC155F2FBB72499B499F746BE7ADCD" ma:contentTypeVersion="5" ma:contentTypeDescription="Crie um novo documento." ma:contentTypeScope="" ma:versionID="7a35c2dbb781a0f0d10eced60772e7a6">
  <xsd:schema xmlns:xsd="http://www.w3.org/2001/XMLSchema" xmlns:xs="http://www.w3.org/2001/XMLSchema" xmlns:p="http://schemas.microsoft.com/office/2006/metadata/properties" xmlns:ns2="7108ced6-578b-4fbf-90af-59eca2ad4e6d" targetNamespace="http://schemas.microsoft.com/office/2006/metadata/properties" ma:root="true" ma:fieldsID="fcbbd0948a3a95004be1ab30617edaac" ns2:_="">
    <xsd:import namespace="7108ced6-578b-4fbf-90af-59eca2ad4e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08ced6-578b-4fbf-90af-59eca2ad4e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04F4AA3-5F71-4FE7-BBA8-F550F29D54AF}"/>
</file>

<file path=customXml/itemProps2.xml><?xml version="1.0" encoding="utf-8"?>
<ds:datastoreItem xmlns:ds="http://schemas.openxmlformats.org/officeDocument/2006/customXml" ds:itemID="{88869219-89F3-47C0-94D9-85BCDEB47D30}"/>
</file>

<file path=customXml/itemProps3.xml><?xml version="1.0" encoding="utf-8"?>
<ds:datastoreItem xmlns:ds="http://schemas.openxmlformats.org/officeDocument/2006/customXml" ds:itemID="{8FF5CCF0-1A47-412B-B83A-951459834902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Widescreen</PresentationFormat>
  <Paragraphs>0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 them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 </cp:lastModifiedBy>
  <cp:revision>15</cp:revision>
  <dcterms:created xsi:type="dcterms:W3CDTF">2013-07-15T20:26:40Z</dcterms:created>
  <dcterms:modified xsi:type="dcterms:W3CDTF">2019-03-19T14:1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CC155F2FBB72499B499F746BE7ADCD</vt:lpwstr>
  </property>
  <property fmtid="{D5CDD505-2E9C-101B-9397-08002B2CF9AE}" pid="3" name="Order">
    <vt:r8>300</vt:r8>
  </property>
  <property fmtid="{D5CDD505-2E9C-101B-9397-08002B2CF9AE}" pid="4" name="ComplianceAssetId">
    <vt:lpwstr/>
  </property>
  <property fmtid="{D5CDD505-2E9C-101B-9397-08002B2CF9AE}" pid="5" name="_SourceUrl">
    <vt:lpwstr/>
  </property>
  <property fmtid="{D5CDD505-2E9C-101B-9397-08002B2CF9AE}" pid="6" name="_SharedFileIndex">
    <vt:lpwstr/>
  </property>
</Properties>
</file>